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357" r:id="rId2"/>
    <p:sldId id="358" r:id="rId3"/>
    <p:sldId id="359" r:id="rId4"/>
    <p:sldId id="360" r:id="rId5"/>
  </p:sldIdLst>
  <p:sldSz cx="10691813" cy="7559675"/>
  <p:notesSz cx="7315200" cy="9601200"/>
  <p:custDataLst>
    <p:tags r:id="rId8"/>
  </p:custDataLst>
  <p:defaultTextStyle>
    <a:defPPr>
      <a:defRPr lang="en-US"/>
    </a:defPPr>
    <a:lvl1pPr marL="0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1pPr>
    <a:lvl2pPr marL="39374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2pPr>
    <a:lvl3pPr marL="78748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3pPr>
    <a:lvl4pPr marL="1181222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4pPr>
    <a:lvl5pPr marL="157496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5pPr>
    <a:lvl6pPr marL="196870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1" orient="horz" pos="2381" userDrawn="1">
          <p15:clr>
            <a:srgbClr val="A4A3A4"/>
          </p15:clr>
        </p15:guide>
        <p15:guide id="12" orient="horz" pos="1791" userDrawn="1">
          <p15:clr>
            <a:srgbClr val="A4A3A4"/>
          </p15:clr>
        </p15:guide>
        <p15:guide id="13" orient="horz" pos="2903" userDrawn="1">
          <p15:clr>
            <a:srgbClr val="A4A3A4"/>
          </p15:clr>
        </p15:guide>
        <p15:guide id="14" orient="horz" pos="3470" userDrawn="1">
          <p15:clr>
            <a:srgbClr val="A4A3A4"/>
          </p15:clr>
        </p15:guide>
        <p15:guide id="15" pos="33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1"/>
    <a:srgbClr val="86BC24"/>
    <a:srgbClr val="000000"/>
    <a:srgbClr val="FFCD00"/>
    <a:srgbClr val="ED8B00"/>
    <a:srgbClr val="DB291C"/>
    <a:srgbClr val="FF9900"/>
    <a:srgbClr val="C00000"/>
    <a:srgbClr val="3C8A2E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305" autoAdjust="0"/>
  </p:normalViewPr>
  <p:slideViewPr>
    <p:cSldViewPr snapToGrid="0" showGuides="1">
      <p:cViewPr varScale="1">
        <p:scale>
          <a:sx n="117" d="100"/>
          <a:sy n="117" d="100"/>
        </p:scale>
        <p:origin x="126" y="138"/>
      </p:cViewPr>
      <p:guideLst>
        <p:guide orient="horz" pos="2381"/>
        <p:guide orient="horz" pos="1791"/>
        <p:guide orient="horz" pos="2903"/>
        <p:guide orient="horz" pos="3470"/>
        <p:guide pos="3368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5934"/>
    </p:cViewPr>
  </p:sorterViewPr>
  <p:notesViewPr>
    <p:cSldViewPr snapToGrid="0" showGuides="1">
      <p:cViewPr varScale="1">
        <p:scale>
          <a:sx n="79" d="100"/>
          <a:sy n="79" d="100"/>
        </p:scale>
        <p:origin x="2976" y="10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611111111111098E-2"/>
          <c:y val="5.6865757633954302E-2"/>
          <c:w val="0.90277777777777801"/>
          <c:h val="0.66056910569105698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legend>
      <c:legendPos val="b"/>
      <c:layout>
        <c:manualLayout>
          <c:xMode val="edge"/>
          <c:yMode val="edge"/>
          <c:x val="0.100157031238525"/>
          <c:y val="0.80626178466557097"/>
          <c:w val="0.79062787850604999"/>
          <c:h val="0.120220377138643"/>
        </c:manualLayout>
      </c:layout>
      <c:overlay val="0"/>
      <c:txPr>
        <a:bodyPr/>
        <a:lstStyle/>
        <a:p>
          <a:pPr>
            <a:defRPr sz="900">
              <a:solidFill>
                <a:schemeClr val="accent6"/>
              </a:solidFill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Id=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Лист1!$A$1:$B$6</c:f>
              <c:multiLvlStrCache>
                <c:ptCount val="6"/>
                <c:lvl>
                  <c:pt idx="0">
                    <c:v>Dresses</c:v>
                  </c:pt>
                  <c:pt idx="1">
                    <c:v>Tops</c:v>
                  </c:pt>
                  <c:pt idx="2">
                    <c:v>Boots</c:v>
                  </c:pt>
                  <c:pt idx="3">
                    <c:v>Flats</c:v>
                  </c:pt>
                  <c:pt idx="4">
                    <c:v>Bags</c:v>
                  </c:pt>
                  <c:pt idx="5">
                    <c:v>Belts</c:v>
                  </c:pt>
                </c:lvl>
                <c:lvl>
                  <c:pt idx="0">
                    <c:v>Clothing</c:v>
                  </c:pt>
                  <c:pt idx="2">
                    <c:v>Shoes</c:v>
                  </c:pt>
                  <c:pt idx="4">
                    <c:v>Accessories</c:v>
                  </c:pt>
                </c:lvl>
              </c:multiLvlStrCache>
            </c:multiLvlStrRef>
          </c:cat>
          <c:val>
            <c:numRef>
              <c:f>Лист1!$C$1:$C$6</c:f>
              <c:numCache>
                <c:formatCode>General</c:formatCode>
                <c:ptCount val="6"/>
                <c:pt idx="0">
                  <c:v>19</c:v>
                </c:pt>
                <c:pt idx="1">
                  <c:v>46</c:v>
                </c:pt>
                <c:pt idx="2">
                  <c:v>9</c:v>
                </c:pt>
                <c:pt idx="3">
                  <c:v>18</c:v>
                </c:pt>
                <c:pt idx="4">
                  <c:v>25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7A-4113-B132-FF282F916B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52470559"/>
        <c:axId val="162226143"/>
      </c:barChart>
      <c:catAx>
        <c:axId val="25247055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226143"/>
        <c:crosses val="autoZero"/>
        <c:auto val="1"/>
        <c:lblAlgn val="ctr"/>
        <c:lblOffset val="100"/>
        <c:noMultiLvlLbl val="0"/>
      </c:catAx>
      <c:valAx>
        <c:axId val="16222614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24705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DC-4799-AAE9-98785393A43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DC-4799-AAE9-98785393A43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DC-4799-AAE9-98785393A4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52838592"/>
        <c:axId val="1700667152"/>
      </c:barChart>
      <c:catAx>
        <c:axId val="1852838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0667152"/>
        <c:crosses val="autoZero"/>
        <c:auto val="1"/>
        <c:lblAlgn val="ctr"/>
        <c:lblOffset val="100"/>
        <c:noMultiLvlLbl val="0"/>
      </c:catAx>
      <c:valAx>
        <c:axId val="170066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52838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haroni" panose="020B0604020202020204" pitchFamily="2" charset="-79"/>
                <a:ea typeface="+mn-ea"/>
                <a:cs typeface="Aharoni" panose="020B0604020202020204" pitchFamily="2" charset="-79"/>
              </a:defRPr>
            </a:pPr>
            <a:r>
              <a:rPr lang="en-US" dirty="0"/>
              <a:t>Series 1_id7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haroni" panose="020B0604020202020204" pitchFamily="2" charset="-79"/>
              <a:ea typeface="+mn-ea"/>
              <a:cs typeface="Aharoni" panose="020B0604020202020204" pitchFamily="2" charset="-79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3</c:v>
                </c:pt>
                <c:pt idx="1">
                  <c:v>2.5</c:v>
                </c:pt>
              </c:numCache>
            </c:numRef>
          </c:val>
      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4-85FF-4A9E-A301-DA0EAA17C6A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4</c:v>
                </c:pt>
                <c:pt idx="1">
                  <c:v>4.4000000000000004</c:v>
                </c:pt>
              </c:numCache>
            </c:numRef>
          </c:val>
      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9-85FF-4A9E-A301-DA0EAA17C6A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FC000"/>
            </a:solidFill>
          </c:spPr>
          <c:dPt>
            <c:idx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5FF-4A9E-A301-DA0EAA17C6A6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val>
      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E-85FF-4A9E-A301-DA0EAA17C6A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3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3</c:v>
                </c:pt>
                <c:pt idx="1">
                  <c:v>2</c:v>
                </c:pt>
              </c:numCache>
            </c:numRef>
          </c:val>
      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13-85FF-4A9E-A301-DA0EAA17C6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haroni" panose="020B0604020202020204" pitchFamily="2" charset="-79"/>
              <a:ea typeface="+mn-ea"/>
              <a:cs typeface="Aharoni" panose="020B0604020202020204" pitchFamily="2" charset="-79"/>
            </a:defRPr>
          </a:pPr>
          <a:endParaRPr lang="en-US"/>
        </a:p>
      </c:txPr>
    </c:legend>
    <c:plotVisOnly val="1"/>
    <c:dispBlanksAs val="gap"/>
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Aharoni" panose="020B0604020202020204" pitchFamily="2" charset="-79"/>
          <a:cs typeface="Aharoni" panose="020B0604020202020204" pitchFamily="2" charset="-79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935110235145903E-2"/>
          <c:y val="2.3303834808259601E-2"/>
          <c:w val="0.94843363115757995"/>
          <c:h val="0.81690811325575496"/>
        </c:manualLayout>
      </c:layout>
      <c:scatterChart>
        <c:scatterStyle val="smooth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905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pPr>
              <a:solidFill>
                <a:schemeClr val="accent1"/>
              </a:solidFill>
              <a:ln w="6350" cap="flat" cmpd="sng" algn="ctr">
                <a:solidFill>
                  <a:schemeClr val="accent1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yVal>
          <c:smooth val="1"/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0-9B82-4F0A-BBF2-F487496F06C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9050" cap="rnd" cmpd="sng" algn="ctr">
              <a:solidFill>
                <a:schemeClr val="accent2"/>
              </a:solidFill>
              <a:prstDash val="solid"/>
              <a:round/>
            </a:ln>
            <a:effectLst/>
          </c:spPr>
          <c:marker>
            <c:spPr>
              <a:solidFill>
                <a:schemeClr val="accent2"/>
              </a:solidFill>
              <a:ln w="6350" cap="flat" cmpd="sng" algn="ctr">
                <a:solidFill>
                  <a:schemeClr val="accent2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yVal>
          <c:smooth val="1"/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1-9B82-4F0A-BBF2-F487496F06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9050" cap="rnd" cmpd="sng" algn="ctr">
              <a:solidFill>
                <a:schemeClr val="accent3"/>
              </a:solidFill>
              <a:prstDash val="solid"/>
              <a:round/>
            </a:ln>
            <a:effectLst/>
          </c:spPr>
          <c:marker>
            <c:spPr>
              <a:solidFill>
                <a:schemeClr val="accent3"/>
              </a:solidFill>
              <a:ln w="6350" cap="flat" cmpd="sng" algn="ctr">
                <a:solidFill>
                  <a:schemeClr val="accent3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yVal>
          <c:smooth val="1"/>
          <c:extLst xmlns:mc="http://schemas.openxmlformats.org/markup-compatibility/2006" xmlns:c14="http://schemas.microsoft.com/office/drawing/2007/8/2/chart" xmlns:c16="http://schemas.microsoft.com/office/drawing/2014/chart">
            <c:ext xmlns:c16="http://schemas.microsoft.com/office/drawing/2014/chart" uri="{C3380CC4-5D6E-409C-BE32-E72D297353CC}">
              <c16:uniqueId val="{00000002-9B82-4F0A-BBF2-F487496F06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76974280"/>
        <c:axId val="1576974672"/>
      </c:scatterChart>
      <c:valAx>
        <c:axId val="15769742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76974672"/>
        <c:crosses val="autoZero"/>
        <c:crossBetween val="midCat"/>
      </c:valAx>
      <c:valAx>
        <c:axId val="157697467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ysClr val="window" lastClr="FFFFFF">
                  <a:lumMod val="85000"/>
                </a:sys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7697428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022176568382323"/>
          <c:y val="0"/>
          <c:w val="0.65565508756623625"/>
          <c:h val="0.9978408297718617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5555555555555046E-3"/>
                  <c:y val="6.2208398133748056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2F747757-19F5-4ABC-A33B-AD86676DF289}" type="VALUE">
                      <a:rPr lang="en-US"/>
                      <a:pPr>
                        <a:defRPr/>
                      </a:pPr>
                      <a:t>[VALUE]</a:t>
                    </a:fld>
                    <a:r>
                      <a:rPr lang="ru-RU"/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355C-46C5-8EE8-42EFA5183349}"/>
                </c:ext>
              </c:extLst>
            </c:dLbl>
            <c:dLbl>
              <c:idx val="1"/>
              <c:layout>
                <c:manualLayout>
                  <c:x val="-0.32885852739855004"/>
                  <c:y val="0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BB37A977-F77F-43F7-8121-602A1D70F518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ru-RU">
                        <a:solidFill>
                          <a:schemeClr val="bg1"/>
                        </a:solidFill>
                      </a:rPr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layout>
                    <c:manualLayout>
                      <c:w val="0.22184684684684686"/>
                      <c:h val="0.2278643715768344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55C-46C5-8EE8-42EFA5183349}"/>
                </c:ext>
              </c:extLst>
            </c:dLbl>
            <c:dLbl>
              <c:idx val="2"/>
              <c:layout>
                <c:manualLayout>
                  <c:x val="-0.28333333333333338"/>
                  <c:y val="0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271A73C0-352E-47AB-9FBF-A7E95B1314BF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en-US">
                        <a:solidFill>
                          <a:schemeClr val="bg1"/>
                        </a:solidFill>
                      </a:rPr>
                      <a:t> </a:t>
                    </a:r>
                    <a:r>
                      <a:rPr lang="ru-RU">
                        <a:solidFill>
                          <a:schemeClr val="bg1"/>
                        </a:solidFill>
                      </a:rPr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layout>
                    <c:manualLayout>
                      <c:w val="0.26863888888888887"/>
                      <c:h val="0.1249766718506998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355C-46C5-8EE8-42EFA51833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4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3:$B$5</c:f>
              <c:strCache>
                <c:ptCount val="3"/>
                <c:pt idx="0">
                  <c:v>EBITDA</c:v>
                </c:pt>
                <c:pt idx="1">
                  <c:v>Выручка</c:v>
                </c:pt>
                <c:pt idx="2">
                  <c:v>Капитализация</c:v>
                </c:pt>
              </c:strCache>
            </c:strRef>
          </c:cat>
          <c:val>
            <c:numRef>
              <c:f>Лист1!$C$3:$C$5</c:f>
              <c:numCache>
                <c:formatCode>_(* #,##0_);_(* \(#,##0\);_(* "-"_);_(@_)</c:formatCode>
                <c:ptCount val="3"/>
                <c:pt idx="0">
                  <c:v>72.662768922074051</c:v>
                </c:pt>
                <c:pt idx="1">
                  <c:v>382.10210188000002</c:v>
                </c:pt>
                <c:pt idx="2">
                  <c:v>437.23806199976224</c:v>
                </c:pt>
              </c:numCache>
            </c:numRef>
          </c:val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3-355C-46C5-8EE8-42EFA51833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72795048"/>
        <c:axId val="372798984"/>
      </c:barChart>
      <c:catAx>
        <c:axId val="372795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372798984"/>
        <c:crosses val="autoZero"/>
        <c:auto val="1"/>
        <c:lblAlgn val="ctr"/>
        <c:lblOffset val="100"/>
        <c:noMultiLvlLbl val="0"/>
      </c:catAx>
      <c:valAx>
        <c:axId val="372798984"/>
        <c:scaling>
          <c:orientation val="minMax"/>
        </c:scaling>
        <c:delete val="0"/>
        <c:axPos val="b"/>
        <c:numFmt formatCode="_(* #,##0_);_(* \(#,##0\);_(* &quot;-&quot;_);_(@_)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372795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4000">
          <a:latin typeface="Times New Roman" panose="02020603050405020304" pitchFamily="18" charset="0"/>
          <a:cs typeface="Times New Roman" panose="02020603050405020304" pitchFamily="18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2C-476E-B53D-82B7EE5ED5F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2C-476E-B53D-82B7EE5ED5F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2C-476E-B53D-82B7EE5ED5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98842399"/>
        <c:axId val="653069919"/>
      </c:barChart>
      <c:catAx>
        <c:axId val="898842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3069919"/>
        <c:crosses val="autoZero"/>
        <c:auto val="1"/>
        <c:lblAlgn val="ctr"/>
        <c:lblOffset val="100"/>
        <c:noMultiLvlLbl val="0"/>
      </c:catAx>
      <c:valAx>
        <c:axId val="6530699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88423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Line Chart_id13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227-4C39-BD41-7867225ACEB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227-4C39-BD41-7867225ACEB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227-4C39-BD41-7867225ACE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95805631"/>
        <c:axId val="395797727"/>
      </c:lineChart>
      <c:catAx>
        <c:axId val="3958056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5797727"/>
        <c:crosses val="autoZero"/>
        <c:auto val="1"/>
        <c:lblAlgn val="ctr"/>
        <c:lblOffset val="100"/>
        <c:noMultiLvlLbl val="0"/>
      </c:catAx>
      <c:valAx>
        <c:axId val="3957977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58056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8/13/2021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8/13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2838" y="720725"/>
            <a:ext cx="50895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9374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8748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81222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74963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68703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627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90" y="727795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9515"/>
            <a:ext cx="9823450" cy="3682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49462" y="2261950"/>
            <a:ext cx="31410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43749" y="1883299"/>
            <a:ext cx="3146761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785015" y="2261950"/>
            <a:ext cx="3123370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785016" y="1883300"/>
            <a:ext cx="3123370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7102890" y="2261950"/>
            <a:ext cx="31539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7098210" y="1876525"/>
            <a:ext cx="3158641" cy="37031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42913" y="6747288"/>
            <a:ext cx="9823449" cy="28692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859" y="1757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9" y="1757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3388" y="359511"/>
            <a:ext cx="9823450" cy="762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42913" y="1883298"/>
            <a:ext cx="9813925" cy="51990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transition>
    <p:fade/>
  </p:transition>
  <p:hf hdr="0" dt="0"/>
  <p:txStyles>
    <p:titleStyle>
      <a:lvl1pPr algn="l" defTabSz="99057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71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86503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74" userDrawn="1">
          <p15:clr>
            <a:srgbClr val="A4A3A4"/>
          </p15:clr>
        </p15:guide>
        <p15:guide id="2" orient="horz" pos="2381" userDrawn="1">
          <p15:clr>
            <a:srgbClr val="A4A3A4"/>
          </p15:clr>
        </p15:guide>
        <p15:guide id="3" orient="horz" pos="4431" userDrawn="1">
          <p15:clr>
            <a:srgbClr val="A4A3A4"/>
          </p15:clr>
        </p15:guide>
        <p15:guide id="4" pos="273" userDrawn="1">
          <p15:clr>
            <a:srgbClr val="A4A3A4"/>
          </p15:clr>
        </p15:guide>
        <p15:guide id="5" pos="6461" userDrawn="1">
          <p15:clr>
            <a:srgbClr val="A4A3A4"/>
          </p15:clr>
        </p15:guide>
        <p15:guide id="6" orient="horz" pos="1180" userDrawn="1">
          <p15:clr>
            <a:srgbClr val="A4A3A4"/>
          </p15:clr>
        </p15:guide>
        <p15:guide id="7" orient="horz" pos="220" userDrawn="1">
          <p15:clr>
            <a:srgbClr val="A4A3A4"/>
          </p15:clr>
        </p15:guide>
        <p15:guide id="8" orient="horz" pos="4497" userDrawn="1">
          <p15:clr>
            <a:srgbClr val="A4A3A4"/>
          </p15:clr>
        </p15:guide>
        <p15:guide id="10" pos="4361" userDrawn="1">
          <p15:clr>
            <a:srgbClr val="A4A3A4"/>
          </p15:clr>
        </p15:guide>
        <p15:guide id="11" orient="horz" pos="260" userDrawn="1">
          <p15:clr>
            <a:srgbClr val="A4A3A4"/>
          </p15:clr>
        </p15:guide>
        <p15:guide id="12" pos="1210" userDrawn="1">
          <p15:clr>
            <a:srgbClr val="A4A3A4"/>
          </p15:clr>
        </p15:guide>
        <p15:guide id="13" pos="1323" userDrawn="1">
          <p15:clr>
            <a:srgbClr val="A4A3A4"/>
          </p15:clr>
        </p15:guide>
        <p15:guide id="14" pos="2260" userDrawn="1">
          <p15:clr>
            <a:srgbClr val="A4A3A4"/>
          </p15:clr>
        </p15:guide>
        <p15:guide id="15" pos="2373" userDrawn="1">
          <p15:clr>
            <a:srgbClr val="A4A3A4"/>
          </p15:clr>
        </p15:guide>
        <p15:guide id="16" pos="5410" userDrawn="1">
          <p15:clr>
            <a:srgbClr val="A4A3A4"/>
          </p15:clr>
        </p15:guide>
        <p15:guide id="17" pos="3306" userDrawn="1">
          <p15:clr>
            <a:srgbClr val="A4A3A4"/>
          </p15:clr>
        </p15:guide>
        <p15:guide id="18" pos="3424" userDrawn="1">
          <p15:clr>
            <a:srgbClr val="A4A3A4"/>
          </p15:clr>
        </p15:guide>
        <p15:guide id="19" pos="3368" userDrawn="1">
          <p15:clr>
            <a:srgbClr val="A4A3A4"/>
          </p15:clr>
        </p15:guide>
        <p15:guide id="20" pos="5525" userDrawn="1">
          <p15:clr>
            <a:srgbClr val="A4A3A4"/>
          </p15:clr>
        </p15:guide>
        <p15:guide id="22" orient="horz" pos="706" userDrawn="1">
          <p15:clr>
            <a:srgbClr val="A4A3A4"/>
          </p15:clr>
        </p15:guide>
        <p15:guide id="23" orient="horz" pos="378" userDrawn="1">
          <p15:clr>
            <a:srgbClr val="A4A3A4"/>
          </p15:clr>
        </p15:guide>
        <p15:guide id="24" orient="horz" pos="612" userDrawn="1">
          <p15:clr>
            <a:srgbClr val="A4A3A4"/>
          </p15:clr>
        </p15:guide>
        <p15:guide id="25" orient="horz" pos="492" userDrawn="1">
          <p15:clr>
            <a:srgbClr val="A4A3A4"/>
          </p15:clr>
        </p15:guide>
        <p15:guide id="26" orient="horz" pos="455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Placeholder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8142171"/>
              </p:ext>
            </p:extLst>
          </p:nvPr>
        </p:nvGraphicFramePr>
        <p:xfrm>
          <a:off x="786664" y="1967590"/>
          <a:ext cx="2971800" cy="4061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73B0FCC5-78BD-4E18-8B5A-F3394FA2FB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74093287"/>
              </p:ext>
            </p:extLst>
          </p:nvPr>
        </p:nvGraphicFramePr>
        <p:xfrm>
          <a:off x="4824052" y="957684"/>
          <a:ext cx="4572000" cy="2725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98117D74-43FF-4698-B23E-D3330C496E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3949083"/>
              </p:ext>
            </p:extLst>
          </p:nvPr>
        </p:nvGraphicFramePr>
        <p:xfrm>
          <a:off x="590479" y="3683299"/>
          <a:ext cx="4572000" cy="2844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704F77D-392A-4DDC-8473-AB674D9882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4992654"/>
              </p:ext>
            </p:extLst>
          </p:nvPr>
        </p:nvGraphicFramePr>
        <p:xfrm>
          <a:off x="5942842" y="4228866"/>
          <a:ext cx="2926036" cy="1800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8320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c="http://schemas.openxmlformats.org/drawingml/2006/chart" xmlns:v="urn:schemas-microsoft-com:vml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7">
            <a:extLst>
              <a:ext uri="{FF2B5EF4-FFF2-40B4-BE49-F238E27FC236}">
                <a16:creationId xmlns:a16="http://schemas.microsoft.com/office/drawing/2014/main" id="{086459C9-AF50-4700-9D87-EF192F1E02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716394"/>
              </p:ext>
            </p:extLst>
          </p:nvPr>
        </p:nvGraphicFramePr>
        <p:xfrm>
          <a:off x="1082878" y="546298"/>
          <a:ext cx="3950414" cy="2487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Диаграмма 19">
            <a:extLst>
              <a:ext uri="{FF2B5EF4-FFF2-40B4-BE49-F238E27FC236}">
                <a16:creationId xmlns:a16="http://schemas.microsoft.com/office/drawing/2014/main" id="{0EBD4F82-AEC0-4F7E-AEC0-0551A23FF2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3372387"/>
              </p:ext>
            </p:extLst>
          </p:nvPr>
        </p:nvGraphicFramePr>
        <p:xfrm>
          <a:off x="1318145" y="3779837"/>
          <a:ext cx="6929927" cy="2390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0951825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E3895B0-D43B-4684-8ABE-17B76961BDE3}"/>
              </a:ext>
            </a:extLst>
          </p:cNvPr>
          <p:cNvSpPr/>
          <p:nvPr/>
        </p:nvSpPr>
        <p:spPr bwMode="gray">
          <a:xfrm>
            <a:off x="757383" y="417936"/>
            <a:ext cx="2946400" cy="1136072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AutoShape</a:t>
            </a:r>
            <a:endParaRPr lang="LID4096" sz="1600" b="1" dirty="0">
              <a:solidFill>
                <a:schemeClr val="bg1"/>
              </a:solidFill>
            </a:endParaRPr>
          </a:p>
        </p:txBody>
      </p:sp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58D373F6-7E7A-4201-959C-ECEFA520F9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01764" y="417936"/>
            <a:ext cx="2659424" cy="2984812"/>
          </a:xfrm>
          <a:prstGeom prst="rect">
            <a:avLst/>
          </a:prstGeom>
        </p:spPr>
      </p:pic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E2D3782-8DE1-434B-9943-C0C12F30C4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7206286"/>
              </p:ext>
            </p:extLst>
          </p:nvPr>
        </p:nvGraphicFramePr>
        <p:xfrm>
          <a:off x="757383" y="1976582"/>
          <a:ext cx="4451926" cy="36712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2275C2E6-9FCA-4C00-862E-6EB14C4FD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2226698"/>
              </p:ext>
            </p:extLst>
          </p:nvPr>
        </p:nvGraphicFramePr>
        <p:xfrm>
          <a:off x="757383" y="5754206"/>
          <a:ext cx="7127874" cy="1165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5958">
                  <a:extLst>
                    <a:ext uri="{9D8B030D-6E8A-4147-A177-3AD203B41FA5}">
                      <a16:colId xmlns:a16="http://schemas.microsoft.com/office/drawing/2014/main" val="1847140761"/>
                    </a:ext>
                  </a:extLst>
                </a:gridCol>
                <a:gridCol w="2375958">
                  <a:extLst>
                    <a:ext uri="{9D8B030D-6E8A-4147-A177-3AD203B41FA5}">
                      <a16:colId xmlns:a16="http://schemas.microsoft.com/office/drawing/2014/main" val="2114985627"/>
                    </a:ext>
                  </a:extLst>
                </a:gridCol>
                <a:gridCol w="2375958">
                  <a:extLst>
                    <a:ext uri="{9D8B030D-6E8A-4147-A177-3AD203B41FA5}">
                      <a16:colId xmlns:a16="http://schemas.microsoft.com/office/drawing/2014/main" val="234016459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7175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5858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67693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428080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796A9461-0D90-48F3-92EA-D3DC5F7647F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1321540"/>
              </p:ext>
            </p:extLst>
          </p:nvPr>
        </p:nvGraphicFramePr>
        <p:xfrm>
          <a:off x="543888" y="165798"/>
          <a:ext cx="6132042" cy="3750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4915685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int_ENG_LLC.potx" id="{CD6F3E51-B384-427F-9D32-7DABADD67481}" vid="{E9AE5A54-21B0-4ED6-AD8A-7298FA3DCE3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rint_ENG_LLC</Template>
  <TotalTime>0</TotalTime>
  <Words>27</Words>
  <Application>Microsoft Office PowerPoint</Application>
  <PresentationFormat>Custom</PresentationFormat>
  <Paragraphs>10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haroni</vt:lpstr>
      <vt:lpstr>Arial</vt:lpstr>
      <vt:lpstr>Times New Roman</vt:lpstr>
      <vt:lpstr>Verdana</vt:lpstr>
      <vt:lpstr>Wingdings 2</vt:lpstr>
      <vt:lpstr>2 Slides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4-20T11:38:22Z</dcterms:created>
  <dcterms:modified xsi:type="dcterms:W3CDTF">2021-08-13T14:09:21Z</dcterms:modified>
</cp:coreProperties>
</file>